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79" r:id="rId6"/>
  </p:sldMasterIdLst>
  <p:notesMasterIdLst>
    <p:notesMasterId r:id="rId10"/>
  </p:notesMasterIdLst>
  <p:sldIdLst>
    <p:sldId id="275" r:id="rId7"/>
    <p:sldId id="331" r:id="rId8"/>
    <p:sldId id="332" r:id="rId9"/>
  </p:sldIdLst>
  <p:sldSz cx="12192000" cy="6858000"/>
  <p:notesSz cx="6794500" cy="9931400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Titel- und Trennerfolien" id="{2E54794A-1C70-4055-BA0C-047E9C8E06B2}">
          <p14:sldIdLst>
            <p14:sldId id="275"/>
          </p14:sldIdLst>
        </p14:section>
        <p14:section name="Agenda" id="{FBC0E280-BEC4-40CF-9F9F-DEF75DC330B0}">
          <p14:sldIdLst/>
        </p14:section>
        <p14:section name="Inhalt" id="{9143C095-ADCB-48C6-BBF9-4399ACA44AAA}">
          <p14:sldIdLst>
            <p14:sldId id="331"/>
            <p14:sldId id="332"/>
          </p14:sldIdLst>
        </p14:section>
        <p14:section name="Text und Bild" id="{8B1E546A-C040-4A00-B2B4-B7A78D2D67B9}">
          <p14:sldIdLst/>
        </p14:section>
      </p14:sectionLst>
    </p:ext>
    <p:ext uri="{EFAFB233-063F-42B5-8137-9DF3F51BA10A}">
      <p15:sldGuideLst xmlns:p15="http://schemas.microsoft.com/office/powerpoint/2012/main">
        <p15:guide id="3" pos="3817" userDrawn="1">
          <p15:clr>
            <a:srgbClr val="A4A3A4"/>
          </p15:clr>
        </p15:guide>
        <p15:guide id="4" orient="horz" pos="1117" userDrawn="1">
          <p15:clr>
            <a:srgbClr val="A4A3A4"/>
          </p15:clr>
        </p15:guide>
        <p15:guide id="5" orient="horz" pos="3884" userDrawn="1">
          <p15:clr>
            <a:srgbClr val="A4A3A4"/>
          </p15:clr>
        </p15:guide>
        <p15:guide id="6" orient="horz" pos="1865" userDrawn="1">
          <p15:clr>
            <a:srgbClr val="A4A3A4"/>
          </p15:clr>
        </p15:guide>
        <p15:guide id="7" orient="horz" pos="2931" userDrawn="1">
          <p15:clr>
            <a:srgbClr val="A4A3A4"/>
          </p15:clr>
        </p15:guide>
        <p15:guide id="8" orient="horz" pos="3793" userDrawn="1">
          <p15:clr>
            <a:srgbClr val="A4A3A4"/>
          </p15:clr>
        </p15:guide>
        <p15:guide id="9" orient="horz" pos="195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0000"/>
    <a:srgbClr val="748394"/>
    <a:srgbClr val="C8D0E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84" autoAdjust="0"/>
    <p:restoredTop sz="89620" autoAdjust="0"/>
  </p:normalViewPr>
  <p:slideViewPr>
    <p:cSldViewPr snapToGrid="0" showGuides="1">
      <p:cViewPr varScale="1">
        <p:scale>
          <a:sx n="103" d="100"/>
          <a:sy n="103" d="100"/>
        </p:scale>
        <p:origin x="138" y="378"/>
      </p:cViewPr>
      <p:guideLst>
        <p:guide pos="3817"/>
        <p:guide orient="horz" pos="1117"/>
        <p:guide orient="horz" pos="3884"/>
        <p:guide orient="horz" pos="1865"/>
        <p:guide orient="horz" pos="2931"/>
        <p:guide orient="horz" pos="3793"/>
        <p:guide orient="horz" pos="1956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presProps" Target="presProps.xml"/><Relationship Id="rId5" Type="http://schemas.openxmlformats.org/officeDocument/2006/relationships/customXml" Target="../customXml/item5.xml"/><Relationship Id="rId10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82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8645" y="0"/>
            <a:ext cx="2944283" cy="4982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2255D82-92B1-4EBA-AF01-9D30101EF318}" type="datetimeFigureOut">
              <a:rPr lang="de-DE" smtClean="0"/>
              <a:t>29.07.20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1241425"/>
            <a:ext cx="5956300" cy="3351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0" y="4779486"/>
            <a:ext cx="5435600" cy="391048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8645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D0D3910-EA15-4AD1-B5F5-16783FD382F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177701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1301831" y="1701098"/>
            <a:ext cx="8428324" cy="1439862"/>
          </a:xfrm>
          <a:prstGeom prst="rect">
            <a:avLst/>
          </a:prstGeom>
        </p:spPr>
        <p:txBody>
          <a:bodyPr bIns="0">
            <a:noAutofit/>
          </a:bodyPr>
          <a:lstStyle>
            <a:lvl1pPr>
              <a:defRPr sz="4923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1311032" y="3356991"/>
            <a:ext cx="8428322" cy="1584898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82150" y="155414"/>
            <a:ext cx="2185867" cy="465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01041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Drittel, ein Dr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9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8115302" y="889471"/>
            <a:ext cx="3713524" cy="560340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9471"/>
            <a:ext cx="7593376" cy="560340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828772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7">
          <p15:clr>
            <a:srgbClr val="FBAE40"/>
          </p15:clr>
        </p15:guide>
        <p15:guide id="2" pos="2669">
          <p15:clr>
            <a:srgbClr val="FBAE40"/>
          </p15:clr>
        </p15:guide>
        <p15:guide id="3" pos="5010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n Drittel, zwei Dr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4237039" y="884238"/>
            <a:ext cx="7594654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9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  <p:sp>
        <p:nvSpPr>
          <p:cNvPr id="10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9471"/>
            <a:ext cx="3715113" cy="560852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121020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7">
          <p15:clr>
            <a:srgbClr val="FBAE40"/>
          </p15:clr>
        </p15:guide>
        <p15:guide id="2" pos="2669">
          <p15:clr>
            <a:srgbClr val="FBAE40"/>
          </p15:clr>
        </p15:guide>
        <p15:guide id="3" pos="5009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9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/>
          </p:nvPr>
        </p:nvSpPr>
        <p:spPr>
          <a:xfrm>
            <a:off x="359999" y="3770313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Inhaltsplatzhalter 10"/>
          <p:cNvSpPr>
            <a:spLocks noGrp="1"/>
          </p:cNvSpPr>
          <p:nvPr>
            <p:ph sz="quarter" idx="15"/>
          </p:nvPr>
        </p:nvSpPr>
        <p:spPr>
          <a:xfrm>
            <a:off x="6180502" y="884239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6180138" y="3770313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4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0548059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7" orient="horz" pos="2273">
          <p15:clr>
            <a:srgbClr val="FBAE40"/>
          </p15:clr>
        </p15:guide>
        <p15:guide id="8" orient="horz" pos="2375">
          <p15:clr>
            <a:srgbClr val="FBAE40"/>
          </p15:clr>
        </p15:guide>
        <p15:guide id="9" pos="3840">
          <p15:clr>
            <a:srgbClr val="FBAE40"/>
          </p15:clr>
        </p15:guide>
        <p15:guide id="10" pos="3788">
          <p15:clr>
            <a:srgbClr val="FBAE40"/>
          </p15:clr>
        </p15:guide>
        <p15:guide id="11" pos="3893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fik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8"/>
          <p:cNvSpPr>
            <a:spLocks noGrp="1"/>
          </p:cNvSpPr>
          <p:nvPr>
            <p:ph sz="quarter" idx="15" hasCustomPrompt="1"/>
          </p:nvPr>
        </p:nvSpPr>
        <p:spPr>
          <a:xfrm>
            <a:off x="344139" y="884238"/>
            <a:ext cx="11506201" cy="5613761"/>
          </a:xfrm>
          <a:prstGeom prst="rect">
            <a:avLst/>
          </a:prstGeom>
          <a:pattFill prst="wdUpDiag">
            <a:fgClr>
              <a:schemeClr val="tx2"/>
            </a:fgClr>
            <a:bgClr>
              <a:schemeClr val="bg1"/>
            </a:bgClr>
          </a:pattFill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5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6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  <p:sp>
        <p:nvSpPr>
          <p:cNvPr id="7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3294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16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16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5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  <p:sp>
        <p:nvSpPr>
          <p:cNvPr id="6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593674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hne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1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4565493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0" rtlCol="0" anchor="t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300"/>
              </a:spcBef>
              <a:spcAft>
                <a:spcPts val="100"/>
              </a:spcAft>
            </a:pPr>
            <a:endParaRPr lang="de-DE" sz="1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12956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4"/>
          <p:cNvSpPr>
            <a:spLocks noGrp="1"/>
          </p:cNvSpPr>
          <p:nvPr>
            <p:ph idx="1"/>
          </p:nvPr>
        </p:nvSpPr>
        <p:spPr>
          <a:xfrm>
            <a:off x="360362" y="883065"/>
            <a:ext cx="11469239" cy="56149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buClr>
                <a:schemeClr val="tx2"/>
              </a:buClr>
              <a:defRPr lang="de-DE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nformationen zur Modeling Guidel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369195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10"/>
          <p:cNvSpPr>
            <a:spLocks noGrp="1"/>
          </p:cNvSpPr>
          <p:nvPr>
            <p:ph sz="quarter" idx="13"/>
          </p:nvPr>
        </p:nvSpPr>
        <p:spPr>
          <a:xfrm>
            <a:off x="360000" y="884238"/>
            <a:ext cx="11469600" cy="42878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55600" y="5491987"/>
            <a:ext cx="11482388" cy="1000888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648000" tIns="216000" rIns="288000" bIns="216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/>
              <a:t>Fazit/Konsequenz durch Klicken bearbeiten</a:t>
            </a:r>
          </a:p>
        </p:txBody>
      </p:sp>
      <p:sp>
        <p:nvSpPr>
          <p:cNvPr id="2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2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13503" y="5815987"/>
            <a:ext cx="1008000" cy="360000"/>
          </a:xfrm>
          <a:prstGeom prst="triangle">
            <a:avLst/>
          </a:prstGeom>
          <a:solidFill>
            <a:srgbClr val="ADC22D"/>
          </a:solidFill>
          <a:ln w="57150">
            <a:solidFill>
              <a:schemeClr val="bg1"/>
            </a:solidFill>
          </a:ln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 dirty="0"/>
              <a:t> .</a:t>
            </a:r>
            <a:endParaRPr lang="en-US" dirty="0"/>
          </a:p>
        </p:txBody>
      </p:sp>
      <p:sp>
        <p:nvSpPr>
          <p:cNvPr id="10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2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5053663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58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3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9"/>
            <a:ext cx="5653451" cy="428783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Inhaltsplatzhalter 10"/>
          <p:cNvSpPr>
            <a:spLocks noGrp="1"/>
          </p:cNvSpPr>
          <p:nvPr>
            <p:ph sz="quarter" idx="16"/>
          </p:nvPr>
        </p:nvSpPr>
        <p:spPr>
          <a:xfrm>
            <a:off x="6175375" y="884238"/>
            <a:ext cx="5656317" cy="42878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55600" y="5491987"/>
            <a:ext cx="11482388" cy="1000888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648000" tIns="216000" rIns="288000" bIns="216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/>
              <a:t>Fazit/Konsequenz durch Klicken bearbeiten</a:t>
            </a:r>
          </a:p>
        </p:txBody>
      </p:sp>
      <p:sp>
        <p:nvSpPr>
          <p:cNvPr id="16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13503" y="5815987"/>
            <a:ext cx="1008000" cy="360000"/>
          </a:xfrm>
          <a:prstGeom prst="triangle">
            <a:avLst/>
          </a:prstGeom>
          <a:solidFill>
            <a:srgbClr val="ADC22D"/>
          </a:solidFill>
          <a:ln w="57150">
            <a:solidFill>
              <a:schemeClr val="bg1"/>
            </a:solidFill>
          </a:ln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 dirty="0"/>
              <a:t> .</a:t>
            </a:r>
            <a:endParaRPr lang="en-US" dirty="0"/>
          </a:p>
        </p:txBody>
      </p:sp>
      <p:sp>
        <p:nvSpPr>
          <p:cNvPr id="11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3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8070732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58">
          <p15:clr>
            <a:srgbClr val="FBAE40"/>
          </p15:clr>
        </p15:guide>
        <p15:guide id="2" pos="3840">
          <p15:clr>
            <a:srgbClr val="FBAE40"/>
          </p15:clr>
        </p15:guide>
        <p15:guide id="3" pos="3890">
          <p15:clr>
            <a:srgbClr val="FBAE40"/>
          </p15:clr>
        </p15:guide>
        <p15:guide id="4" pos="378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8"/>
            <a:ext cx="5653451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6175375" y="884238"/>
            <a:ext cx="5656317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9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147806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90">
          <p15:clr>
            <a:srgbClr val="FBAE40"/>
          </p15:clr>
        </p15:guide>
        <p15:guide id="2" pos="3788">
          <p15:clr>
            <a:srgbClr val="FBAE40"/>
          </p15:clr>
        </p15:guide>
        <p15:guide id="5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&amp; Bild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60001" y="3135784"/>
            <a:ext cx="5652000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6175375" y="3135784"/>
            <a:ext cx="5652000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360000" y="884237"/>
            <a:ext cx="5652000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>
            <a:noAutofit/>
          </a:bodyPr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3" name="Bildplatzhalter 6"/>
          <p:cNvSpPr>
            <a:spLocks noGrp="1"/>
          </p:cNvSpPr>
          <p:nvPr>
            <p:ph type="pic" sz="quarter" idx="17" hasCustomPrompt="1"/>
          </p:nvPr>
        </p:nvSpPr>
        <p:spPr>
          <a:xfrm>
            <a:off x="6175375" y="884236"/>
            <a:ext cx="5652000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>
            <a:noAutofit/>
          </a:bodyPr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0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4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844751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90">
          <p15:clr>
            <a:srgbClr val="FBAE40"/>
          </p15:clr>
        </p15:guide>
        <p15:guide id="2" pos="3788">
          <p15:clr>
            <a:srgbClr val="FBAE40"/>
          </p15:clr>
        </p15:guide>
        <p15:guide id="5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8"/>
            <a:ext cx="3715113" cy="5613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Inhaltsplatzhalter 10"/>
          <p:cNvSpPr>
            <a:spLocks noGrp="1"/>
          </p:cNvSpPr>
          <p:nvPr>
            <p:ph sz="quarter" idx="15"/>
          </p:nvPr>
        </p:nvSpPr>
        <p:spPr>
          <a:xfrm>
            <a:off x="4237038" y="884238"/>
            <a:ext cx="3715113" cy="5613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8113713" y="884238"/>
            <a:ext cx="3715113" cy="5613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0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2939991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8">
          <p15:clr>
            <a:srgbClr val="FBAE40"/>
          </p15:clr>
        </p15:guide>
        <p15:guide id="2" pos="2669">
          <p15:clr>
            <a:srgbClr val="FBAE40"/>
          </p15:clr>
        </p15:guide>
        <p15:guide id="3" pos="5010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 &amp; Bild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359998" y="884237"/>
            <a:ext cx="3715113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/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3135784"/>
            <a:ext cx="3715113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Inhaltsplatzhalter 10"/>
          <p:cNvSpPr>
            <a:spLocks noGrp="1"/>
          </p:cNvSpPr>
          <p:nvPr>
            <p:ph sz="quarter" idx="15"/>
          </p:nvPr>
        </p:nvSpPr>
        <p:spPr>
          <a:xfrm>
            <a:off x="4237039" y="3135784"/>
            <a:ext cx="3716336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8115302" y="3135784"/>
            <a:ext cx="3713524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Bildplatzhalter 6"/>
          <p:cNvSpPr>
            <a:spLocks noGrp="1"/>
          </p:cNvSpPr>
          <p:nvPr>
            <p:ph type="pic" sz="quarter" idx="17" hasCustomPrompt="1"/>
          </p:nvPr>
        </p:nvSpPr>
        <p:spPr>
          <a:xfrm>
            <a:off x="4237039" y="884238"/>
            <a:ext cx="3716336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/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22" name="Bildplatzhalter 6"/>
          <p:cNvSpPr>
            <a:spLocks noGrp="1"/>
          </p:cNvSpPr>
          <p:nvPr>
            <p:ph type="pic" sz="quarter" idx="18" hasCustomPrompt="1"/>
          </p:nvPr>
        </p:nvSpPr>
        <p:spPr>
          <a:xfrm>
            <a:off x="8113713" y="884238"/>
            <a:ext cx="3715113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/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21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7110512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7">
          <p15:clr>
            <a:srgbClr val="FBAE40"/>
          </p15:clr>
        </p15:guide>
        <p15:guide id="2" pos="2669">
          <p15:clr>
            <a:srgbClr val="FBAE40"/>
          </p15:clr>
        </p15:guide>
        <p15:guide id="3" pos="5010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 nebeneinander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6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17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0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9472"/>
            <a:ext cx="3715113" cy="429847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2" name="Inhaltsplatzhalter 10"/>
          <p:cNvSpPr>
            <a:spLocks noGrp="1"/>
          </p:cNvSpPr>
          <p:nvPr>
            <p:ph sz="quarter" idx="15"/>
          </p:nvPr>
        </p:nvSpPr>
        <p:spPr>
          <a:xfrm>
            <a:off x="4237039" y="889472"/>
            <a:ext cx="3716336" cy="429847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3" name="Inhaltsplatzhalter 10"/>
          <p:cNvSpPr>
            <a:spLocks noGrp="1"/>
          </p:cNvSpPr>
          <p:nvPr>
            <p:ph sz="quarter" idx="16"/>
          </p:nvPr>
        </p:nvSpPr>
        <p:spPr>
          <a:xfrm>
            <a:off x="8115302" y="889472"/>
            <a:ext cx="3713524" cy="429847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55600" y="5491987"/>
            <a:ext cx="11482388" cy="1000888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648000" tIns="216000" rIns="288000" bIns="216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/>
              <a:t>Fazit/Konsequenz durch Klicken bearbeiten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13503" y="5815987"/>
            <a:ext cx="1008000" cy="360000"/>
          </a:xfrm>
          <a:prstGeom prst="triangle">
            <a:avLst/>
          </a:prstGeom>
          <a:solidFill>
            <a:srgbClr val="ADC22D"/>
          </a:solidFill>
          <a:ln w="57150">
            <a:solidFill>
              <a:schemeClr val="bg1"/>
            </a:solidFill>
          </a:ln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 dirty="0"/>
              <a:t> .</a:t>
            </a:r>
            <a:endParaRPr lang="en-US" dirty="0"/>
          </a:p>
        </p:txBody>
      </p:sp>
      <p:sp>
        <p:nvSpPr>
          <p:cNvPr id="1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5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9268301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570">
          <p15:clr>
            <a:srgbClr val="FBAE40"/>
          </p15:clr>
        </p15:guide>
        <p15:guide id="3" pos="2667">
          <p15:clr>
            <a:srgbClr val="FBAE40"/>
          </p15:clr>
        </p15:guide>
        <p15:guide id="4" pos="5010">
          <p15:clr>
            <a:srgbClr val="FBAE40"/>
          </p15:clr>
        </p15:guide>
        <p15:guide id="5" pos="5111">
          <p15:clr>
            <a:srgbClr val="FBAE40"/>
          </p15:clr>
        </p15:guide>
        <p15:guide id="6" orient="horz" pos="327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30"/>
          <p:cNvSpPr>
            <a:spLocks noChangeArrowheads="1"/>
          </p:cNvSpPr>
          <p:nvPr/>
        </p:nvSpPr>
        <p:spPr bwMode="gray">
          <a:xfrm>
            <a:off x="10021278" y="6586538"/>
            <a:ext cx="1045307" cy="21590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ctr"/>
          <a:lstStyle/>
          <a:p>
            <a:pPr algn="r" fontAlgn="auto">
              <a:defRPr/>
            </a:pPr>
            <a:r>
              <a:rPr lang="de-DE" sz="985" dirty="0">
                <a:solidFill>
                  <a:schemeClr val="tx2"/>
                </a:solidFill>
                <a:latin typeface="+mn-lt"/>
                <a:cs typeface="+mn-cs"/>
              </a:rPr>
              <a:t> </a:t>
            </a:r>
            <a:endParaRPr lang="de-DE" sz="2215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>
        <p:nvSpPr>
          <p:cNvPr id="15" name="Rectangle 130"/>
          <p:cNvSpPr>
            <a:spLocks noChangeArrowheads="1"/>
          </p:cNvSpPr>
          <p:nvPr/>
        </p:nvSpPr>
        <p:spPr bwMode="gray">
          <a:xfrm>
            <a:off x="9650107" y="6586538"/>
            <a:ext cx="1577058" cy="21590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ctr"/>
          <a:lstStyle/>
          <a:p>
            <a:pPr algn="r" fontAlgn="auto">
              <a:defRPr/>
            </a:pPr>
            <a:r>
              <a:rPr lang="de-DE" sz="700" dirty="0">
                <a:solidFill>
                  <a:schemeClr val="accent2"/>
                </a:solidFill>
                <a:latin typeface="+mn-lt"/>
                <a:cs typeface="+mn-cs"/>
              </a:rPr>
              <a:t> © Smart Mechatronics</a:t>
            </a:r>
            <a:endParaRPr lang="de-DE" sz="1600" dirty="0">
              <a:solidFill>
                <a:schemeClr val="accent2"/>
              </a:solidFill>
              <a:latin typeface="+mn-lt"/>
              <a:cs typeface="+mn-cs"/>
            </a:endParaRP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82150" y="155414"/>
            <a:ext cx="2185867" cy="465300"/>
          </a:xfrm>
          <a:prstGeom prst="rect">
            <a:avLst/>
          </a:prstGeom>
        </p:spPr>
      </p:pic>
      <p:sp>
        <p:nvSpPr>
          <p:cNvPr id="14" name="Textplatzhalter 4"/>
          <p:cNvSpPr>
            <a:spLocks noGrp="1"/>
          </p:cNvSpPr>
          <p:nvPr>
            <p:ph type="body" idx="1"/>
          </p:nvPr>
        </p:nvSpPr>
        <p:spPr>
          <a:xfrm>
            <a:off x="360362" y="883065"/>
            <a:ext cx="11469239" cy="56149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6" name="Titelplatzhalter 6"/>
          <p:cNvSpPr>
            <a:spLocks noGrp="1"/>
          </p:cNvSpPr>
          <p:nvPr>
            <p:ph type="title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6539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12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424572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  <p:sldLayoutId id="2147483781" r:id="rId2"/>
    <p:sldLayoutId id="2147483782" r:id="rId3"/>
    <p:sldLayoutId id="2147483783" r:id="rId4"/>
    <p:sldLayoutId id="2147483784" r:id="rId5"/>
    <p:sldLayoutId id="2147483785" r:id="rId6"/>
    <p:sldLayoutId id="2147483786" r:id="rId7"/>
    <p:sldLayoutId id="2147483787" r:id="rId8"/>
    <p:sldLayoutId id="2147483788" r:id="rId9"/>
    <p:sldLayoutId id="2147483789" r:id="rId10"/>
    <p:sldLayoutId id="2147483790" r:id="rId11"/>
    <p:sldLayoutId id="2147483791" r:id="rId12"/>
    <p:sldLayoutId id="2147483792" r:id="rId13"/>
    <p:sldLayoutId id="2147483793" r:id="rId14"/>
    <p:sldLayoutId id="2147483794" r:id="rId15"/>
    <p:sldLayoutId id="2147483795" r:id="rId16"/>
  </p:sldLayoutIdLst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5pPr>
      <a:lvl6pPr marL="562722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6pPr>
      <a:lvl7pPr marL="1125444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7pPr>
      <a:lvl8pPr marL="1688165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8pPr>
      <a:lvl9pPr marL="2250887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58775" indent="-358775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Wingdings" pitchFamily="2" charset="2"/>
        <a:buChar char=""/>
        <a:defRPr b="1" kern="1200">
          <a:solidFill>
            <a:schemeClr val="tx1"/>
          </a:solidFill>
          <a:latin typeface="+mn-lt"/>
          <a:ea typeface="+mn-ea"/>
          <a:cs typeface="+mn-cs"/>
        </a:defRPr>
      </a:lvl1pPr>
      <a:lvl2pPr marL="715963" indent="-357188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Wingdings 3" pitchFamily="18" charset="2"/>
        <a:buChar char="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1074738" indent="-358775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Wingdings" pitchFamily="2" charset="2"/>
        <a:buChar char="§"/>
        <a:tabLst>
          <a:tab pos="1522413" algn="l"/>
        </a:tabLst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431925" indent="-357188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Arial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790700" indent="-358775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Arial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3094970" indent="-281361" algn="l" defTabSz="1125444" rtl="0" eaLnBrk="1" latinLnBrk="0" hangingPunct="1">
        <a:lnSpc>
          <a:spcPct val="110000"/>
        </a:lnSpc>
        <a:spcBef>
          <a:spcPts val="862"/>
        </a:spcBef>
        <a:buClr>
          <a:schemeClr val="tx2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6pPr>
      <a:lvl7pPr marL="3657691" indent="-281361" algn="l" defTabSz="1125444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7pPr>
      <a:lvl8pPr marL="4220413" indent="-281361" algn="l" defTabSz="1125444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8pPr>
      <a:lvl9pPr marL="4783135" indent="-281361" algn="l" defTabSz="1125444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1pPr>
      <a:lvl2pPr marL="56272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2pPr>
      <a:lvl3pPr marL="112544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688165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4pPr>
      <a:lvl5pPr marL="2250887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5pPr>
      <a:lvl6pPr marL="2813609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6pPr>
      <a:lvl7pPr marL="3376331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7pPr>
      <a:lvl8pPr marL="393905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8pPr>
      <a:lvl9pPr marL="450177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3">
          <p15:clr>
            <a:srgbClr val="F26B43"/>
          </p15:clr>
        </p15:guide>
        <p15:guide id="2" pos="224">
          <p15:clr>
            <a:srgbClr val="F26B43"/>
          </p15:clr>
        </p15:guide>
        <p15:guide id="3" pos="7457">
          <p15:clr>
            <a:srgbClr val="F26B43"/>
          </p15:clr>
        </p15:guide>
        <p15:guide id="4" orient="horz" pos="436">
          <p15:clr>
            <a:srgbClr val="F26B43"/>
          </p15:clr>
        </p15:guide>
        <p15:guide id="5" orient="horz" pos="4090">
          <p15:clr>
            <a:srgbClr val="F26B43"/>
          </p15:clr>
        </p15:guide>
        <p15:guide id="6" orient="horz" pos="54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621" r="12621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Rechteck 1"/>
          <p:cNvSpPr/>
          <p:nvPr/>
        </p:nvSpPr>
        <p:spPr>
          <a:xfrm>
            <a:off x="-17357" y="3591427"/>
            <a:ext cx="6605771" cy="2148269"/>
          </a:xfrm>
          <a:custGeom>
            <a:avLst/>
            <a:gdLst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806214 w 9806214"/>
              <a:gd name="connsiteY2" fmla="*/ 3227896 h 3227896"/>
              <a:gd name="connsiteX3" fmla="*/ 0 w 9806214"/>
              <a:gd name="connsiteY3" fmla="*/ 3227896 h 3227896"/>
              <a:gd name="connsiteX4" fmla="*/ 0 w 9806214"/>
              <a:gd name="connsiteY4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806214 w 9806214"/>
              <a:gd name="connsiteY2" fmla="*/ 3227896 h 3227896"/>
              <a:gd name="connsiteX3" fmla="*/ 0 w 9806214"/>
              <a:gd name="connsiteY3" fmla="*/ 3227896 h 3227896"/>
              <a:gd name="connsiteX4" fmla="*/ 0 w 9806214"/>
              <a:gd name="connsiteY4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806214 w 9806214"/>
              <a:gd name="connsiteY2" fmla="*/ 3227896 h 3227896"/>
              <a:gd name="connsiteX3" fmla="*/ 0 w 9806214"/>
              <a:gd name="connsiteY3" fmla="*/ 3227896 h 3227896"/>
              <a:gd name="connsiteX4" fmla="*/ 0 w 9806214"/>
              <a:gd name="connsiteY4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520464 w 9806214"/>
              <a:gd name="connsiteY2" fmla="*/ 3227896 h 3227896"/>
              <a:gd name="connsiteX3" fmla="*/ 0 w 9806214"/>
              <a:gd name="connsiteY3" fmla="*/ 3227896 h 3227896"/>
              <a:gd name="connsiteX4" fmla="*/ 0 w 9806214"/>
              <a:gd name="connsiteY4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677400 w 9806214"/>
              <a:gd name="connsiteY2" fmla="*/ 1643983 h 3227896"/>
              <a:gd name="connsiteX3" fmla="*/ 9520464 w 9806214"/>
              <a:gd name="connsiteY3" fmla="*/ 3227896 h 3227896"/>
              <a:gd name="connsiteX4" fmla="*/ 0 w 9806214"/>
              <a:gd name="connsiteY4" fmla="*/ 3227896 h 3227896"/>
              <a:gd name="connsiteX5" fmla="*/ 0 w 9806214"/>
              <a:gd name="connsiteY5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677400 w 9806214"/>
              <a:gd name="connsiteY2" fmla="*/ 1643983 h 3227896"/>
              <a:gd name="connsiteX3" fmla="*/ 9563100 w 9806214"/>
              <a:gd name="connsiteY3" fmla="*/ 2812383 h 3227896"/>
              <a:gd name="connsiteX4" fmla="*/ 9520464 w 9806214"/>
              <a:gd name="connsiteY4" fmla="*/ 3227896 h 3227896"/>
              <a:gd name="connsiteX5" fmla="*/ 0 w 9806214"/>
              <a:gd name="connsiteY5" fmla="*/ 3227896 h 3227896"/>
              <a:gd name="connsiteX6" fmla="*/ 0 w 9806214"/>
              <a:gd name="connsiteY6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677400 w 9806214"/>
              <a:gd name="connsiteY2" fmla="*/ 1643983 h 3227896"/>
              <a:gd name="connsiteX3" fmla="*/ 8318500 w 9806214"/>
              <a:gd name="connsiteY3" fmla="*/ 1669383 h 3227896"/>
              <a:gd name="connsiteX4" fmla="*/ 9520464 w 9806214"/>
              <a:gd name="connsiteY4" fmla="*/ 3227896 h 3227896"/>
              <a:gd name="connsiteX5" fmla="*/ 0 w 9806214"/>
              <a:gd name="connsiteY5" fmla="*/ 3227896 h 3227896"/>
              <a:gd name="connsiteX6" fmla="*/ 0 w 9806214"/>
              <a:gd name="connsiteY6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677400 w 9806214"/>
              <a:gd name="connsiteY2" fmla="*/ 1643983 h 3227896"/>
              <a:gd name="connsiteX3" fmla="*/ 8318500 w 9806214"/>
              <a:gd name="connsiteY3" fmla="*/ 1669383 h 3227896"/>
              <a:gd name="connsiteX4" fmla="*/ 8199664 w 9806214"/>
              <a:gd name="connsiteY4" fmla="*/ 3227896 h 3227896"/>
              <a:gd name="connsiteX5" fmla="*/ 0 w 9806214"/>
              <a:gd name="connsiteY5" fmla="*/ 3227896 h 3227896"/>
              <a:gd name="connsiteX6" fmla="*/ 0 w 9806214"/>
              <a:gd name="connsiteY6" fmla="*/ 0 h 3227896"/>
              <a:gd name="connsiteX0" fmla="*/ 0 w 10536896"/>
              <a:gd name="connsiteY0" fmla="*/ 0 h 3227896"/>
              <a:gd name="connsiteX1" fmla="*/ 10536896 w 10536896"/>
              <a:gd name="connsiteY1" fmla="*/ 0 h 3227896"/>
              <a:gd name="connsiteX2" fmla="*/ 10408082 w 10536896"/>
              <a:gd name="connsiteY2" fmla="*/ 1643983 h 3227896"/>
              <a:gd name="connsiteX3" fmla="*/ 9049182 w 10536896"/>
              <a:gd name="connsiteY3" fmla="*/ 1669383 h 3227896"/>
              <a:gd name="connsiteX4" fmla="*/ 8930346 w 10536896"/>
              <a:gd name="connsiteY4" fmla="*/ 3227896 h 3227896"/>
              <a:gd name="connsiteX5" fmla="*/ 730682 w 10536896"/>
              <a:gd name="connsiteY5" fmla="*/ 3227896 h 3227896"/>
              <a:gd name="connsiteX6" fmla="*/ 0 w 10536896"/>
              <a:gd name="connsiteY6" fmla="*/ 0 h 3227896"/>
              <a:gd name="connsiteX0" fmla="*/ 14052 w 10550948"/>
              <a:gd name="connsiteY0" fmla="*/ 0 h 3241948"/>
              <a:gd name="connsiteX1" fmla="*/ 10550948 w 10550948"/>
              <a:gd name="connsiteY1" fmla="*/ 0 h 3241948"/>
              <a:gd name="connsiteX2" fmla="*/ 10422134 w 10550948"/>
              <a:gd name="connsiteY2" fmla="*/ 1643983 h 3241948"/>
              <a:gd name="connsiteX3" fmla="*/ 9063234 w 10550948"/>
              <a:gd name="connsiteY3" fmla="*/ 1669383 h 3241948"/>
              <a:gd name="connsiteX4" fmla="*/ 8944398 w 10550948"/>
              <a:gd name="connsiteY4" fmla="*/ 3227896 h 3241948"/>
              <a:gd name="connsiteX5" fmla="*/ 0 w 10550948"/>
              <a:gd name="connsiteY5" fmla="*/ 3241948 h 3241948"/>
              <a:gd name="connsiteX6" fmla="*/ 14052 w 10550948"/>
              <a:gd name="connsiteY6" fmla="*/ 0 h 3241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50948" h="3241948">
                <a:moveTo>
                  <a:pt x="14052" y="0"/>
                </a:moveTo>
                <a:lnTo>
                  <a:pt x="10550948" y="0"/>
                </a:lnTo>
                <a:lnTo>
                  <a:pt x="10422134" y="1643983"/>
                </a:lnTo>
                <a:lnTo>
                  <a:pt x="9063234" y="1669383"/>
                </a:lnTo>
                <a:lnTo>
                  <a:pt x="8944398" y="3227896"/>
                </a:lnTo>
                <a:lnTo>
                  <a:pt x="0" y="3241948"/>
                </a:lnTo>
                <a:lnTo>
                  <a:pt x="14052" y="0"/>
                </a:lnTo>
                <a:close/>
              </a:path>
            </a:pathLst>
          </a:custGeom>
          <a:solidFill>
            <a:schemeClr val="bg1">
              <a:alpha val="77255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5" name="Titel 6"/>
          <p:cNvSpPr txBox="1">
            <a:spLocks/>
          </p:cNvSpPr>
          <p:nvPr/>
        </p:nvSpPr>
        <p:spPr bwMode="gray">
          <a:xfrm>
            <a:off x="104423" y="4857479"/>
            <a:ext cx="5033907" cy="357123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923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562722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1125444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688165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2250887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endParaRPr lang="de-DE" sz="1800" b="0" dirty="0"/>
          </a:p>
        </p:txBody>
      </p:sp>
      <p:sp>
        <p:nvSpPr>
          <p:cNvPr id="26" name="Titel 6"/>
          <p:cNvSpPr txBox="1">
            <a:spLocks/>
          </p:cNvSpPr>
          <p:nvPr/>
        </p:nvSpPr>
        <p:spPr bwMode="gray">
          <a:xfrm>
            <a:off x="77529" y="3578641"/>
            <a:ext cx="6217254" cy="1226444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923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562722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1125444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688165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2250887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endParaRPr lang="de-DE" dirty="0"/>
          </a:p>
        </p:txBody>
      </p:sp>
      <p:pic>
        <p:nvPicPr>
          <p:cNvPr id="27" name="Grafik 26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82150" y="155414"/>
            <a:ext cx="2185867" cy="465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07260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>
          <a:xfrm>
            <a:off x="360000" y="1051512"/>
            <a:ext cx="11469600" cy="5473019"/>
          </a:xfrm>
        </p:spPr>
        <p:txBody>
          <a:bodyPr/>
          <a:lstStyle/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358775" lvl="1" indent="0">
              <a:buNone/>
            </a:pPr>
            <a:endParaRPr lang="de-DE" dirty="0"/>
          </a:p>
          <a:p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nchmark 2.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Statusupdate Masterarbeit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30" name="Inhaltsplatzhalter 3">
            <a:extLst>
              <a:ext uri="{FF2B5EF4-FFF2-40B4-BE49-F238E27FC236}">
                <a16:creationId xmlns:a16="http://schemas.microsoft.com/office/drawing/2014/main" id="{BDE1F74B-F5E3-A54E-AF42-508BF4648D83}"/>
              </a:ext>
            </a:extLst>
          </p:cNvPr>
          <p:cNvSpPr txBox="1">
            <a:spLocks/>
          </p:cNvSpPr>
          <p:nvPr/>
        </p:nvSpPr>
        <p:spPr>
          <a:xfrm>
            <a:off x="360000" y="1051511"/>
            <a:ext cx="11469600" cy="547301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58775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" pitchFamily="2" charset="2"/>
              <a:buChar char=""/>
              <a:defRPr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5963" indent="-357188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 3" pitchFamily="18" charset="2"/>
              <a:buChar char="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4738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" pitchFamily="2" charset="2"/>
              <a:buChar char="§"/>
              <a:tabLst>
                <a:tab pos="1522413" algn="l"/>
              </a:tabLst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31925" indent="-357188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90700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Arial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94970" indent="-281361" algn="l" defTabSz="1125444" rtl="0" eaLnBrk="1" latinLnBrk="0" hangingPunct="1">
              <a:lnSpc>
                <a:spcPct val="110000"/>
              </a:lnSpc>
              <a:spcBef>
                <a:spcPts val="862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691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20413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83135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800" dirty="0"/>
              <a:t>Zwei große Datasets heruntergeladen (Wider Person &amp; Daimler)</a:t>
            </a:r>
          </a:p>
          <a:p>
            <a:pPr marL="0" indent="0">
              <a:buNone/>
            </a:pPr>
            <a:endParaRPr lang="de-DE" sz="1800" dirty="0"/>
          </a:p>
          <a:p>
            <a:pPr lvl="1"/>
            <a:r>
              <a:rPr lang="de-DE" sz="1800" dirty="0"/>
              <a:t>Ein Großteil der Zeit geht für </a:t>
            </a:r>
            <a:r>
              <a:rPr lang="de-DE" sz="1800" dirty="0" err="1"/>
              <a:t>Annotations</a:t>
            </a:r>
            <a:r>
              <a:rPr lang="de-DE" sz="1800" dirty="0"/>
              <a:t> verloren (Strippen etc.)</a:t>
            </a:r>
          </a:p>
          <a:p>
            <a:pPr lvl="1"/>
            <a:endParaRPr lang="de-DE" sz="1800" dirty="0"/>
          </a:p>
          <a:p>
            <a:pPr lvl="1"/>
            <a:r>
              <a:rPr lang="de-DE" sz="1800" dirty="0"/>
              <a:t>Wider Person enthält Frames mit teilweise &gt;100 Personen</a:t>
            </a:r>
          </a:p>
          <a:p>
            <a:pPr lvl="1"/>
            <a:endParaRPr lang="de-DE" sz="1800" dirty="0"/>
          </a:p>
          <a:p>
            <a:pPr lvl="1"/>
            <a:r>
              <a:rPr lang="de-DE" sz="1800" dirty="0"/>
              <a:t>Bisherige </a:t>
            </a:r>
            <a:r>
              <a:rPr lang="de-DE" sz="1800" dirty="0" err="1"/>
              <a:t>Benchmarkergebnisse</a:t>
            </a:r>
            <a:r>
              <a:rPr lang="de-DE" sz="1800" dirty="0"/>
              <a:t> im Prinzip nicht valide, da nur die Anzahl der erkannten Personen verglichen wird und nicht die korrekte Klassifizierung</a:t>
            </a:r>
          </a:p>
          <a:p>
            <a:pPr lvl="1"/>
            <a:endParaRPr lang="de-DE" sz="1800" dirty="0"/>
          </a:p>
          <a:p>
            <a:pPr lvl="1"/>
            <a:r>
              <a:rPr lang="de-DE" sz="1800" dirty="0"/>
              <a:t>Abhilfe: </a:t>
            </a:r>
            <a:r>
              <a:rPr lang="de-DE" sz="1800" dirty="0" err="1"/>
              <a:t>Bounding</a:t>
            </a:r>
            <a:r>
              <a:rPr lang="de-DE" sz="1800" dirty="0"/>
              <a:t> Boxen vergleichen (Problem: Können leicht abweichen und die Analyse verfälschen)</a:t>
            </a:r>
          </a:p>
          <a:p>
            <a:pPr lvl="1"/>
            <a:endParaRPr lang="de-DE" sz="1800" dirty="0"/>
          </a:p>
          <a:p>
            <a:pPr lvl="1"/>
            <a:r>
              <a:rPr lang="de-DE" sz="1800" dirty="0"/>
              <a:t>Daimler enthält Bilder mit kleinen Personengruppen oder sogar einzelnen Personen (Hier dauert das Programmieren des Strips der </a:t>
            </a:r>
            <a:r>
              <a:rPr lang="de-DE" sz="1800" dirty="0" err="1"/>
              <a:t>Annotations</a:t>
            </a:r>
            <a:r>
              <a:rPr lang="de-DE" sz="1800" dirty="0"/>
              <a:t> lange)</a:t>
            </a:r>
          </a:p>
          <a:p>
            <a:pPr lvl="1"/>
            <a:endParaRPr lang="de-DE" sz="1800" dirty="0"/>
          </a:p>
          <a:p>
            <a:pPr marL="0" indent="0">
              <a:buFont typeface="Wingdings" pitchFamily="2" charset="2"/>
              <a:buNone/>
            </a:pPr>
            <a:endParaRPr lang="de-DE" sz="1800" dirty="0"/>
          </a:p>
          <a:p>
            <a:pPr marL="0" indent="0">
              <a:buFont typeface="Wingdings" pitchFamily="2" charset="2"/>
              <a:buNone/>
            </a:pPr>
            <a:endParaRPr lang="de-DE" sz="1800" dirty="0"/>
          </a:p>
          <a:p>
            <a:pPr marL="0" indent="0">
              <a:buFont typeface="Wingdings" pitchFamily="2" charset="2"/>
              <a:buNone/>
            </a:pPr>
            <a:endParaRPr lang="de-DE" sz="1800" dirty="0"/>
          </a:p>
          <a:p>
            <a:pPr marL="0" indent="0">
              <a:buFont typeface="Wingdings" pitchFamily="2" charset="2"/>
              <a:buNone/>
            </a:pPr>
            <a:endParaRPr lang="de-DE" sz="1800" dirty="0"/>
          </a:p>
          <a:p>
            <a:pPr marL="358775" lvl="1" indent="0">
              <a:buFont typeface="Wingdings 3" pitchFamily="18" charset="2"/>
              <a:buNone/>
            </a:pPr>
            <a:endParaRPr lang="de-DE" sz="1800" dirty="0"/>
          </a:p>
          <a:p>
            <a:endParaRPr lang="de-DE" sz="1800" dirty="0"/>
          </a:p>
          <a:p>
            <a:pPr lvl="1"/>
            <a:endParaRPr lang="de-DE" sz="1800" dirty="0"/>
          </a:p>
        </p:txBody>
      </p:sp>
    </p:spTree>
    <p:extLst>
      <p:ext uri="{BB962C8B-B14F-4D97-AF65-F5344CB8AC3E}">
        <p14:creationId xmlns:p14="http://schemas.microsoft.com/office/powerpoint/2010/main" val="29993128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96302C01-A511-4B40-B7D4-F6A33E549AEB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/>
              <a:t>Sollen </a:t>
            </a:r>
            <a:r>
              <a:rPr lang="de-DE" dirty="0" err="1"/>
              <a:t>Bounding</a:t>
            </a:r>
            <a:r>
              <a:rPr lang="de-DE" dirty="0"/>
              <a:t> Boxes noch gecheckt werden? (Programmieraufwand entsprechend hoch und je nach Dataset </a:t>
            </a:r>
            <a:r>
              <a:rPr lang="de-DE"/>
              <a:t>auch anders)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8781D0F-A2B3-4E8F-A89E-9257D23112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63BDF58-9E17-4D0D-899B-E7E5A72042D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8315FFD-EC3C-4E43-A81C-830BBA283EC7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15DE5450-12CD-4723-817E-028D68F4C4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ragen</a:t>
            </a:r>
          </a:p>
        </p:txBody>
      </p:sp>
    </p:spTree>
    <p:extLst>
      <p:ext uri="{BB962C8B-B14F-4D97-AF65-F5344CB8AC3E}">
        <p14:creationId xmlns:p14="http://schemas.microsoft.com/office/powerpoint/2010/main" val="10720275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Smart">
  <a:themeElements>
    <a:clrScheme name="Benutzerdefiniert 1">
      <a:dk1>
        <a:sysClr val="windowText" lastClr="000000"/>
      </a:dk1>
      <a:lt1>
        <a:sysClr val="window" lastClr="FFFFFF"/>
      </a:lt1>
      <a:dk2>
        <a:srgbClr val="0060A9"/>
      </a:dk2>
      <a:lt2>
        <a:srgbClr val="D2D8DC"/>
      </a:lt2>
      <a:accent1>
        <a:srgbClr val="0060A9"/>
      </a:accent1>
      <a:accent2>
        <a:srgbClr val="A3B7DA"/>
      </a:accent2>
      <a:accent3>
        <a:srgbClr val="748394"/>
      </a:accent3>
      <a:accent4>
        <a:srgbClr val="FFE600"/>
      </a:accent4>
      <a:accent5>
        <a:srgbClr val="006600"/>
      </a:accent5>
      <a:accent6>
        <a:srgbClr val="B6070A"/>
      </a:accent6>
      <a:hlink>
        <a:srgbClr val="006EC2"/>
      </a:hlink>
      <a:folHlink>
        <a:srgbClr val="800080"/>
      </a:folHlink>
    </a:clrScheme>
    <a:fontScheme name="Master Smart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Master Smart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9050" cap="flat" cmpd="sng" algn="ctr">
          <a:solidFill>
            <a:srgbClr val="0060A9"/>
          </a:solidFill>
          <a:prstDash val="solid"/>
        </a:ln>
        <a:ln w="19050" cap="flat" cmpd="sng" algn="ctr">
          <a:solidFill>
            <a:srgbClr val="0060A9"/>
          </a:solidFill>
          <a:prstDash val="solid"/>
        </a:ln>
        <a:ln w="19050" cap="flat" cmpd="sng" algn="ctr">
          <a:solidFill>
            <a:srgbClr val="0060A9"/>
          </a:solidFill>
          <a:prstDash val="solid"/>
        </a:ln>
      </a:lnStyleLst>
      <a:effectStyleLst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</a:effectStyle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chilly" dir="r"/>
          </a:scene3d>
          <a:sp3d prstMaterial="plastic">
            <a:bevelT w="165100"/>
          </a:sp3d>
        </a:effectStyle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  <a:scene3d>
            <a:camera prst="obliqueBottomRight" fov="6000000"/>
            <a:lightRig rig="flat" dir="t"/>
          </a:scene3d>
          <a:sp3d prstMaterial="plastic">
            <a:bevelT w="254000" h="127000"/>
          </a:sp3d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/>
  <a:extraClrSchemeLst/>
  <a:custClrLst>
    <a:custClr name="Smart Grün">
      <a:srgbClr val="ADC22D"/>
    </a:custClr>
    <a:custClr name="Smart Orange">
      <a:srgbClr val="DC931A"/>
    </a:custClr>
    <a:custClr name="Smart Dunkelblau">
      <a:srgbClr val="283F64"/>
    </a:custClr>
  </a:custClrLst>
  <a:extLst>
    <a:ext uri="{05A4C25C-085E-4340-85A3-A5531E510DB2}">
      <thm15:themeFamily xmlns:thm15="http://schemas.microsoft.com/office/thememl/2012/main" name="Designvorlage.potx" id="{31D03E13-31BB-4AB1-95B7-0106BE1EC14C}" vid="{7DE87D3C-D34E-47B4-8BE1-28FD1924A421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BBD9003812289408EA7333BCACF44FC" ma:contentTypeVersion="12" ma:contentTypeDescription="Ein neues Dokument erstellen." ma:contentTypeScope="" ma:versionID="0c5c1046a88a933084f5a8197ebf6a23">
  <xsd:schema xmlns:xsd="http://www.w3.org/2001/XMLSchema" xmlns:xs="http://www.w3.org/2001/XMLSchema" xmlns:p="http://schemas.microsoft.com/office/2006/metadata/properties" xmlns:ns2="b85a9d60-6535-41ad-bf5c-23a8b594cd63" xmlns:ns3="ed5c7061-1de8-4387-89c6-d21a66c01b33" targetNamespace="http://schemas.microsoft.com/office/2006/metadata/properties" ma:root="true" ma:fieldsID="f2895043163c27cc329504fc8636e150" ns2:_="" ns3:_="">
    <xsd:import namespace="b85a9d60-6535-41ad-bf5c-23a8b594cd63"/>
    <xsd:import namespace="ed5c7061-1de8-4387-89c6-d21a66c01b33"/>
    <xsd:element name="properties">
      <xsd:complexType>
        <xsd:sequence>
          <xsd:element name="documentManagement">
            <xsd:complexType>
              <xsd:all>
                <xsd:element ref="ns2:n472ea6ee43248479fb8bd9165cf026a" minOccurs="0"/>
                <xsd:element ref="ns3:TaxCatchAll" minOccurs="0"/>
                <xsd:element ref="ns3:TaxKeywordTaxHTField" minOccurs="0"/>
                <xsd:element ref="ns2:baca3e887ca7480a9d7450c9bf4a3684" minOccurs="0"/>
                <xsd:element ref="ns2:l228be0177a34db3828e80e3fa65188a" minOccurs="0"/>
                <xsd:element ref="ns3:_dlc_DocId" minOccurs="0"/>
                <xsd:element ref="ns3:_dlc_DocIdUrl" minOccurs="0"/>
                <xsd:element ref="ns3:_dlc_DocIdPersistId" minOccurs="0"/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85a9d60-6535-41ad-bf5c-23a8b594cd63" elementFormDefault="qualified">
    <xsd:import namespace="http://schemas.microsoft.com/office/2006/documentManagement/types"/>
    <xsd:import namespace="http://schemas.microsoft.com/office/infopath/2007/PartnerControls"/>
    <xsd:element name="n472ea6ee43248479fb8bd9165cf026a" ma:index="9" nillable="true" ma:taxonomy="true" ma:internalName="n472ea6ee43248479fb8bd9165cf026a" ma:taxonomyFieldName="Inhaltsart" ma:displayName="Inhaltsart" ma:default="" ma:fieldId="{7472ea6e-e432-4847-9fb8-bd9165cf026a}" ma:sspId="2e2829cc-aa2a-46b2-a28b-c9f97d3d1cb4" ma:termSetId="767c6171-8aee-45fe-9245-6574c4a98c87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baca3e887ca7480a9d7450c9bf4a3684" ma:index="14" nillable="true" ma:taxonomy="true" ma:internalName="baca3e887ca7480a9d7450c9bf4a3684" ma:taxonomyFieldName="Organisation" ma:displayName="Organisation" ma:default="" ma:fieldId="{baca3e88-7ca7-480a-9d74-50c9bf4a3684}" ma:taxonomyMulti="true" ma:sspId="2e2829cc-aa2a-46b2-a28b-c9f97d3d1cb4" ma:termSetId="e3389e6f-2df5-4eb9-a59a-38e053c8fa8f" ma:anchorId="272604aa-3b6b-45a0-a37b-82e69713eb6d" ma:open="false" ma:isKeyword="false">
      <xsd:complexType>
        <xsd:sequence>
          <xsd:element ref="pc:Terms" minOccurs="0" maxOccurs="1"/>
        </xsd:sequence>
      </xsd:complexType>
    </xsd:element>
    <xsd:element name="l228be0177a34db3828e80e3fa65188a" ma:index="16" nillable="true" ma:taxonomy="true" ma:internalName="l228be0177a34db3828e80e3fa65188a" ma:taxonomyFieldName="GJ" ma:displayName="GJ" ma:default="" ma:fieldId="{5228be01-77a3-4db3-828e-80e3fa65188a}" ma:taxonomyMulti="true" ma:sspId="2e2829cc-aa2a-46b2-a28b-c9f97d3d1cb4" ma:termSetId="e3389e6f-2df5-4eb9-a59a-38e053c8fa8f" ma:anchorId="b48e39cb-534e-47f5-8a32-3ac0545ff679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d5c7061-1de8-4387-89c6-d21a66c01b33" elementFormDefault="qualified">
    <xsd:import namespace="http://schemas.microsoft.com/office/2006/documentManagement/types"/>
    <xsd:import namespace="http://schemas.microsoft.com/office/infopath/2007/PartnerControls"/>
    <xsd:element name="TaxCatchAll" ma:index="10" nillable="true" ma:displayName="Taxonomy Catch All Column" ma:hidden="true" ma:list="{61813fb6-496b-4d3a-8b99-ceada4826d4f}" ma:internalName="TaxCatchAll" ma:showField="CatchAllData" ma:web="ed5c7061-1de8-4387-89c6-d21a66c01b3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KeywordTaxHTField" ma:index="12" nillable="true" ma:taxonomy="true" ma:internalName="TaxKeywordTaxHTField" ma:taxonomyFieldName="TaxKeyword" ma:displayName="Freitext" ma:fieldId="{23f27201-bee3-471e-b2e7-b64fd8b7ca38}" ma:taxonomyMulti="true" ma:sspId="00000000-0000-0000-0000-000000000000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_dlc_DocId" ma:index="17" nillable="true" ma:displayName="Wert der Dokument-ID" ma:description="Der Wert der diesem Element zugewiesenen Dokument-ID." ma:internalName="_dlc_DocId" ma:readOnly="true">
      <xsd:simpleType>
        <xsd:restriction base="dms:Text"/>
      </xsd:simpleType>
    </xsd:element>
    <xsd:element name="_dlc_DocIdUrl" ma:index="18" nillable="true" ma:displayName="Dokument-ID" ma:description="Permanenter Hyperlink zu diesem Dok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9" nillable="true" ma:displayName="Beständige ID" ma:description="ID beim Hinzufügen beibehalten." ma:hidden="true" ma:internalName="_dlc_DocIdPersistId" ma:readOnly="true">
      <xsd:simpleType>
        <xsd:restriction base="dms:Boolean"/>
      </xsd:simpleType>
    </xsd:element>
    <xsd:element name="SharedWithUsers" ma:index="20" nillable="true" ma:displayName="Freigegeben für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?mso-contentType ?>
<customXsn xmlns="http://schemas.microsoft.com/office/2006/metadata/customXsn">
  <xsnLocation/>
  <cached>True</cached>
  <openByDefault>True</openByDefault>
  <xsnScope/>
</customXsn>
</file>

<file path=customXml/item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n472ea6ee43248479fb8bd9165cf026a xmlns="b85a9d60-6535-41ad-bf5c-23a8b594cd63">
      <Terms xmlns="http://schemas.microsoft.com/office/infopath/2007/PartnerControls">
        <TermInfo xmlns="http://schemas.microsoft.com/office/infopath/2007/PartnerControls">
          <TermName xmlns="http://schemas.microsoft.com/office/infopath/2007/PartnerControls">Vorlage</TermName>
          <TermId xmlns="http://schemas.microsoft.com/office/infopath/2007/PartnerControls">f9f550ab-d043-4f5a-97bd-52764d9a66d8</TermId>
        </TermInfo>
      </Terms>
    </n472ea6ee43248479fb8bd9165cf026a>
    <_dlc_DocId xmlns="ed5c7061-1de8-4387-89c6-d21a66c01b33">SMMQM-2-392</_dlc_DocId>
    <_dlc_DocIdUrl xmlns="ed5c7061-1de8-4387-89c6-d21a66c01b33">
      <Url>https://qm.smart-mechatronics.de/_layouts/15/DocIdRedir.aspx?ID=SMMQM-2-392</Url>
      <Description>SMMQM-2-392</Description>
    </_dlc_DocIdUrl>
    <TaxCatchAll xmlns="ed5c7061-1de8-4387-89c6-d21a66c01b33">
      <Value>1</Value>
    </TaxCatchAll>
    <l228be0177a34db3828e80e3fa65188a xmlns="b85a9d60-6535-41ad-bf5c-23a8b594cd63">
      <Terms xmlns="http://schemas.microsoft.com/office/infopath/2007/PartnerControls"/>
    </l228be0177a34db3828e80e3fa65188a>
    <TaxKeywordTaxHTField xmlns="ed5c7061-1de8-4387-89c6-d21a66c01b33">
      <Terms xmlns="http://schemas.microsoft.com/office/infopath/2007/PartnerControls"/>
    </TaxKeywordTaxHTField>
    <baca3e887ca7480a9d7450c9bf4a3684 xmlns="b85a9d60-6535-41ad-bf5c-23a8b594cd63">
      <Terms xmlns="http://schemas.microsoft.com/office/infopath/2007/PartnerControls"/>
    </baca3e887ca7480a9d7450c9bf4a3684>
  </documentManagement>
</p:properties>
</file>

<file path=customXml/itemProps1.xml><?xml version="1.0" encoding="utf-8"?>
<ds:datastoreItem xmlns:ds="http://schemas.openxmlformats.org/officeDocument/2006/customXml" ds:itemID="{ECA8B933-44D9-4902-90F1-BC93213D16A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85a9d60-6535-41ad-bf5c-23a8b594cd63"/>
    <ds:schemaRef ds:uri="ed5c7061-1de8-4387-89c6-d21a66c01b3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33AE78F-1762-4C8A-B000-A5B2FC0C6AC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783E0A9-D953-4B7B-BC87-E5F4BA76F061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783BD3D0-EE3E-4A15-8667-6519756E537D}">
  <ds:schemaRefs>
    <ds:schemaRef ds:uri="http://schemas.microsoft.com/office/2006/metadata/customXsn"/>
  </ds:schemaRefs>
</ds:datastoreItem>
</file>

<file path=customXml/itemProps5.xml><?xml version="1.0" encoding="utf-8"?>
<ds:datastoreItem xmlns:ds="http://schemas.openxmlformats.org/officeDocument/2006/customXml" ds:itemID="{29940796-2B28-46D6-A019-405D01B8DF60}">
  <ds:schemaRefs>
    <ds:schemaRef ds:uri="http://purl.org/dc/terms/"/>
    <ds:schemaRef ds:uri="b85a9d60-6535-41ad-bf5c-23a8b594cd63"/>
    <ds:schemaRef ds:uri="ed5c7061-1de8-4387-89c6-d21a66c01b33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signvorlage</Template>
  <TotalTime>0</TotalTime>
  <Words>120</Words>
  <Application>Microsoft Office PowerPoint</Application>
  <PresentationFormat>Breitbild</PresentationFormat>
  <Paragraphs>34</Paragraphs>
  <Slides>3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</vt:i4>
      </vt:variant>
    </vt:vector>
  </HeadingPairs>
  <TitlesOfParts>
    <vt:vector size="9" baseType="lpstr">
      <vt:lpstr>Arial</vt:lpstr>
      <vt:lpstr>Segoe UI</vt:lpstr>
      <vt:lpstr>Wingdings</vt:lpstr>
      <vt:lpstr>Wingdings 3</vt:lpstr>
      <vt:lpstr>1_Smart</vt:lpstr>
      <vt:lpstr>think-cell Folie</vt:lpstr>
      <vt:lpstr>PowerPoint-Präsentation</vt:lpstr>
      <vt:lpstr>Benchmark 2.0</vt:lpstr>
      <vt:lpstr>Fragen</vt:lpstr>
    </vt:vector>
  </TitlesOfParts>
  <Company>UNITY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Dittmann, Hannes</dc:creator>
  <cp:keywords/>
  <cp:lastModifiedBy>Giuliano 'Giulli' Montorio</cp:lastModifiedBy>
  <cp:revision>36</cp:revision>
  <dcterms:created xsi:type="dcterms:W3CDTF">2019-09-25T11:15:24Z</dcterms:created>
  <dcterms:modified xsi:type="dcterms:W3CDTF">2020-07-29T09:15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axKeyword">
    <vt:lpwstr/>
  </property>
  <property fmtid="{D5CDD505-2E9C-101B-9397-08002B2CF9AE}" pid="3" name="Organisation">
    <vt:lpwstr/>
  </property>
  <property fmtid="{D5CDD505-2E9C-101B-9397-08002B2CF9AE}" pid="4" name="ContentTypeId">
    <vt:lpwstr>0x010100ABBD9003812289408EA7333BCACF44FC</vt:lpwstr>
  </property>
  <property fmtid="{D5CDD505-2E9C-101B-9397-08002B2CF9AE}" pid="5" name="GJ">
    <vt:lpwstr/>
  </property>
  <property fmtid="{D5CDD505-2E9C-101B-9397-08002B2CF9AE}" pid="6" name="_dlc_DocIdItemGuid">
    <vt:lpwstr>6f6ae8fb-3eff-4a15-8aed-1eca49a7e6f9</vt:lpwstr>
  </property>
  <property fmtid="{D5CDD505-2E9C-101B-9397-08002B2CF9AE}" pid="7" name="Inhaltsart">
    <vt:lpwstr>1;#Vorlage|f9f550ab-d043-4f5a-97bd-52764d9a66d8</vt:lpwstr>
  </property>
</Properties>
</file>